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6"/>
  </p:notesMasterIdLst>
  <p:handoutMasterIdLst>
    <p:handoutMasterId r:id="rId7"/>
  </p:handoutMasterIdLst>
  <p:sldIdLst>
    <p:sldId id="380" r:id="rId3"/>
    <p:sldId id="393" r:id="rId4"/>
    <p:sldId id="394" r:id="rId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3"/>
            <p14:sldId id="39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82" autoAdjust="0"/>
    <p:restoredTop sz="68960" autoAdjust="0"/>
  </p:normalViewPr>
  <p:slideViewPr>
    <p:cSldViewPr>
      <p:cViewPr varScale="1">
        <p:scale>
          <a:sx n="57" d="100"/>
          <a:sy n="57" d="100"/>
        </p:scale>
        <p:origin x="-13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orient="horz" pos="2932"/>
        <p:guide orient="horz" pos="2928"/>
        <p:guide pos="2265"/>
        <p:guide pos="2212"/>
        <p:guide pos="2315"/>
        <p:guide pos="2261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3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3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71" tIns="47284" rIns="94571" bIns="4728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8"/>
            <a:ext cx="5608320" cy="4183380"/>
          </a:xfrm>
          <a:prstGeom prst="rect">
            <a:avLst/>
          </a:prstGeom>
        </p:spPr>
        <p:txBody>
          <a:bodyPr vert="horz" lIns="94571" tIns="47284" rIns="94571" bIns="4728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216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E3C4EC-FA30-4BAF-8816-853426F570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697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9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9/10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 smtClean="0">
                <a:solidFill>
                  <a:schemeClr val="tx1"/>
                </a:solidFill>
              </a:rPr>
              <a:t>Please put your source here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 smtClean="0">
                <a:solidFill>
                  <a:srgbClr val="002060"/>
                </a:solidFill>
              </a:rPr>
              <a:t>DGM </a:t>
            </a:r>
            <a:r>
              <a:rPr lang="en-US" b="0" dirty="0">
                <a:solidFill>
                  <a:srgbClr val="002060"/>
                </a:solidFill>
              </a:rPr>
              <a:t>R</a:t>
            </a:r>
            <a:r>
              <a:rPr lang="en-US" b="0" dirty="0" smtClean="0">
                <a:solidFill>
                  <a:srgbClr val="002060"/>
                </a:solidFill>
              </a:rPr>
              <a:t>emarks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September 10, 2018</a:t>
            </a:r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 smtClean="0">
                <a:solidFill>
                  <a:schemeClr val="tx1"/>
                </a:solidFill>
              </a:rPr>
              <a:t>Fiscal &amp; Management Control Board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Power Outage 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GM Remarks 9/10/2018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62684" y="1828800"/>
            <a:ext cx="517611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August 29, 2018 a major power outage affecting the Green, Orange and Blue Lines</a:t>
            </a:r>
          </a:p>
          <a:p>
            <a:r>
              <a:rPr lang="en-US" dirty="0" smtClean="0">
                <a:latin typeface="+mj-lt"/>
              </a:rPr>
              <a:t>	Including: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Station Lighting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Fare Equipment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Elevators/Escalators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Trains operated with delays</a:t>
            </a:r>
          </a:p>
          <a:p>
            <a:endParaRPr lang="en-US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Issue caused by fault in A/C supply cable from Lincoln Switching S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u="sng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u="sng" dirty="0" smtClean="0"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200" y="2286000"/>
            <a:ext cx="3454400" cy="25908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958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452715" cy="466344"/>
          </a:xfrm>
        </p:spPr>
        <p:txBody>
          <a:bodyPr/>
          <a:lstStyle/>
          <a:p>
            <a:r>
              <a:rPr lang="en-US" sz="2400" dirty="0" smtClean="0"/>
              <a:t>Updates to </a:t>
            </a:r>
            <a:r>
              <a:rPr lang="en-US" sz="2400" dirty="0" err="1" smtClean="0"/>
              <a:t>MBTAbackontrack</a:t>
            </a:r>
            <a:r>
              <a:rPr lang="en-US" sz="2400" dirty="0" smtClean="0"/>
              <a:t> reliability data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68161" y="2124306"/>
            <a:ext cx="4555365" cy="4374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500" dirty="0" smtClean="0">
                <a:solidFill>
                  <a:prstClr val="black"/>
                </a:solidFill>
                <a:latin typeface="+mj-lt"/>
              </a:rPr>
              <a:t>New </a:t>
            </a:r>
            <a:r>
              <a:rPr lang="en-US" sz="1500" dirty="0">
                <a:solidFill>
                  <a:prstClr val="black"/>
                </a:solidFill>
                <a:latin typeface="+mj-lt"/>
              </a:rPr>
              <a:t>Real-time </a:t>
            </a:r>
            <a:r>
              <a:rPr lang="en-US" sz="1500" dirty="0" smtClean="0">
                <a:solidFill>
                  <a:prstClr val="black"/>
                </a:solidFill>
                <a:latin typeface="+mj-lt"/>
              </a:rPr>
              <a:t>Data for </a:t>
            </a:r>
            <a:r>
              <a:rPr lang="en-US" sz="1500" dirty="0">
                <a:solidFill>
                  <a:prstClr val="black"/>
                </a:solidFill>
                <a:latin typeface="+mj-lt"/>
              </a:rPr>
              <a:t>Heavy Rail </a:t>
            </a:r>
          </a:p>
          <a:p>
            <a:pPr marL="685800" lvl="1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Resulting 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decrease in reliability metrics for Red, Orange, and Blue Lines of 0 – 2% due to the inclusion of wait times for passengers traveling to the terminal stations</a:t>
            </a:r>
          </a:p>
          <a:p>
            <a: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prstClr val="black"/>
                </a:solidFill>
                <a:latin typeface="+mj-lt"/>
              </a:rPr>
              <a:t>New Data Fusion Engine for Real-time Feeds </a:t>
            </a:r>
          </a:p>
          <a:p>
            <a:pPr marL="685800" lvl="1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Improves 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update frequency of real-time information by up to 30 </a:t>
            </a: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seconds</a:t>
            </a:r>
          </a:p>
          <a:p>
            <a:pPr marL="685800" lvl="1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Results 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in more accurate arrival and departure times</a:t>
            </a:r>
          </a:p>
          <a:p>
            <a: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+mj-lt"/>
              </a:rPr>
              <a:t>Resulting increase in reliability metrics for Green Line between 2-7%</a:t>
            </a:r>
          </a:p>
          <a:p>
            <a: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prstClr val="black"/>
                </a:solidFill>
                <a:latin typeface="+mj-lt"/>
              </a:rPr>
              <a:t>Update to Passenger Arrival Rates based on Origin-Destination-Transfer (ODX) model from Fall 2017</a:t>
            </a:r>
          </a:p>
          <a:p>
            <a: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prstClr val="black"/>
                </a:solidFill>
                <a:latin typeface="+mj-lt"/>
              </a:rPr>
              <a:t>Allocates passengers previously boarding at Wollaston</a:t>
            </a:r>
            <a:endParaRPr lang="en-US" sz="1300" dirty="0">
              <a:solidFill>
                <a:prstClr val="black"/>
              </a:solidFill>
              <a:latin typeface="+mj-lt"/>
            </a:endParaRPr>
          </a:p>
          <a:p>
            <a: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prstClr val="black"/>
                </a:solidFill>
                <a:latin typeface="+mj-lt"/>
              </a:rPr>
              <a:t>No change to reliability metric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03094" y="1574308"/>
            <a:ext cx="8348472" cy="425348"/>
          </a:xfrm>
        </p:spPr>
        <p:txBody>
          <a:bodyPr/>
          <a:lstStyle/>
          <a:p>
            <a:pPr lvl="0">
              <a:lnSpc>
                <a:spcPct val="90000"/>
              </a:lnSpc>
            </a:pPr>
            <a:r>
              <a:rPr lang="en-US" sz="1400" dirty="0">
                <a:solidFill>
                  <a:prstClr val="black"/>
                </a:solidFill>
              </a:rPr>
              <a:t>On September </a:t>
            </a:r>
            <a:r>
              <a:rPr lang="en-US" sz="1400" dirty="0" smtClean="0">
                <a:solidFill>
                  <a:prstClr val="black"/>
                </a:solidFill>
              </a:rPr>
              <a:t>12th, 2018, </a:t>
            </a:r>
            <a:r>
              <a:rPr lang="en-US" sz="1400" dirty="0">
                <a:solidFill>
                  <a:prstClr val="black"/>
                </a:solidFill>
              </a:rPr>
              <a:t>data feed will be updated to reflect improved data quality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6360" y="2514600"/>
            <a:ext cx="3749040" cy="31540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Text Placeholder 2"/>
          <p:cNvSpPr txBox="1">
            <a:spLocks/>
          </p:cNvSpPr>
          <p:nvPr/>
        </p:nvSpPr>
        <p:spPr>
          <a:xfrm>
            <a:off x="377941" y="475806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kern="0" dirty="0" smtClean="0"/>
              <a:t>DGM Remarks 9/10/2018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485325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4775</TotalTime>
  <Words>160</Words>
  <Application>Microsoft Office PowerPoint</Application>
  <PresentationFormat>On-screen Show (4:3)</PresentationFormat>
  <Paragraphs>31</Paragraphs>
  <Slides>3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MBTA Default Template</vt:lpstr>
      <vt:lpstr>1_MBTA Default Template</vt:lpstr>
      <vt:lpstr>DGM Remarks</vt:lpstr>
      <vt:lpstr>Power Outage </vt:lpstr>
      <vt:lpstr>Updates to MBTAbackontrack reliability dat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DAS</cp:lastModifiedBy>
  <cp:revision>1320</cp:revision>
  <cp:lastPrinted>2018-06-04T14:50:09Z</cp:lastPrinted>
  <dcterms:created xsi:type="dcterms:W3CDTF">2016-04-11T13:25:01Z</dcterms:created>
  <dcterms:modified xsi:type="dcterms:W3CDTF">2018-09-10T18:46:09Z</dcterms:modified>
</cp:coreProperties>
</file>